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handoutMasterIdLst>
    <p:handoutMasterId r:id="rId8"/>
  </p:handoutMasterIdLst>
  <p:sldIdLst>
    <p:sldId id="256" r:id="rId2"/>
    <p:sldId id="320" r:id="rId3"/>
    <p:sldId id="321" r:id="rId4"/>
    <p:sldId id="324" r:id="rId5"/>
    <p:sldId id="323" r:id="rId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3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680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406493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Nem todos os registro possuem nome do gerente ou centro de custo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</a:t>
            </a:r>
            <a:r>
              <a:rPr lang="pt-BR" sz="1800" dirty="0" smtClean="0">
                <a:latin typeface="Corbel" panose="020B0503020204020204" pitchFamily="34" charset="0"/>
              </a:rPr>
              <a:t>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de todos os departamentos de ATENDIMENTO?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numero, PROCV, Texto para Coluna, FILTRO, Classificação.</a:t>
            </a: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012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FORNECEDORES PARA FAZER MEDIA, SOMA, CONTAGEM POR GERENTE, DIRETOR E DEPARTARMENTO.</a:t>
            </a:r>
          </a:p>
        </p:txBody>
      </p:sp>
    </p:spTree>
    <p:extLst>
      <p:ext uri="{BB962C8B-B14F-4D97-AF65-F5344CB8AC3E}">
        <p14:creationId xmlns:p14="http://schemas.microsoft.com/office/powerpoint/2010/main" val="134709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8</TotalTime>
  <Words>341</Words>
  <Application>Microsoft Office PowerPoint</Application>
  <PresentationFormat>Widescreen</PresentationFormat>
  <Paragraphs>44</Paragraphs>
  <Slides>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0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59</cp:revision>
  <dcterms:created xsi:type="dcterms:W3CDTF">2018-08-19T15:50:37Z</dcterms:created>
  <dcterms:modified xsi:type="dcterms:W3CDTF">2018-11-09T22:06:27Z</dcterms:modified>
</cp:coreProperties>
</file>